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3" r:id="rId3"/>
    <p:sldMasterId id="2147483708" r:id="rId4"/>
    <p:sldMasterId id="2147483713" r:id="rId5"/>
    <p:sldMasterId id="2147483718" r:id="rId6"/>
    <p:sldMasterId id="2147483723" r:id="rId7"/>
    <p:sldMasterId id="2147483728" r:id="rId8"/>
  </p:sldMasterIdLst>
  <p:notesMasterIdLst>
    <p:notesMasterId r:id="rId38"/>
  </p:notesMasterIdLst>
  <p:sldIdLst>
    <p:sldId id="3343" r:id="rId9"/>
    <p:sldId id="2147375028" r:id="rId10"/>
    <p:sldId id="2147375032" r:id="rId11"/>
    <p:sldId id="2147375030" r:id="rId12"/>
    <p:sldId id="2147375029" r:id="rId13"/>
    <p:sldId id="3346" r:id="rId14"/>
    <p:sldId id="2145705568" r:id="rId15"/>
    <p:sldId id="2145705566" r:id="rId16"/>
    <p:sldId id="2147375019" r:id="rId17"/>
    <p:sldId id="2147375017" r:id="rId18"/>
    <p:sldId id="2145705874" r:id="rId19"/>
    <p:sldId id="2145705878" r:id="rId20"/>
    <p:sldId id="2145705879" r:id="rId21"/>
    <p:sldId id="2145705900" r:id="rId22"/>
    <p:sldId id="2147375020" r:id="rId23"/>
    <p:sldId id="2145705872" r:id="rId24"/>
    <p:sldId id="2145705907" r:id="rId25"/>
    <p:sldId id="2147375014" r:id="rId26"/>
    <p:sldId id="2145705889" r:id="rId27"/>
    <p:sldId id="2147375021" r:id="rId28"/>
    <p:sldId id="2147375027" r:id="rId29"/>
    <p:sldId id="2147375000" r:id="rId30"/>
    <p:sldId id="2147375004" r:id="rId31"/>
    <p:sldId id="2147375005" r:id="rId32"/>
    <p:sldId id="2147375006" r:id="rId33"/>
    <p:sldId id="2147375007" r:id="rId34"/>
    <p:sldId id="2147375025" r:id="rId35"/>
    <p:sldId id="2147375031" r:id="rId36"/>
    <p:sldId id="2147375026" r:id="rId3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E3F"/>
    <a:srgbClr val="0432F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/>
    <p:restoredTop sz="94779"/>
  </p:normalViewPr>
  <p:slideViewPr>
    <p:cSldViewPr snapToGrid="0">
      <p:cViewPr varScale="1">
        <p:scale>
          <a:sx n="147" d="100"/>
          <a:sy n="147" d="100"/>
        </p:scale>
        <p:origin x="120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commentAuthors" Target="commentAuthors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2/27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1982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369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864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5773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3464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75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2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4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8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1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41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4.png"/><Relationship Id="rId7" Type="http://schemas.microsoft.com/office/2007/relationships/hdphoto" Target="../media/hdphoto1.wdp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7.png"/><Relationship Id="rId4" Type="http://schemas.microsoft.com/office/2007/relationships/hdphoto" Target="../media/hdphoto17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4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3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3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2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9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4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1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7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7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34" r:id="rId21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78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emf"/><Relationship Id="rId2" Type="http://schemas.openxmlformats.org/officeDocument/2006/relationships/image" Target="../media/image79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emf"/><Relationship Id="rId2" Type="http://schemas.openxmlformats.org/officeDocument/2006/relationships/image" Target="../media/image81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emf"/><Relationship Id="rId2" Type="http://schemas.openxmlformats.org/officeDocument/2006/relationships/image" Target="../media/image83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image" Target="../media/image85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8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9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74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2.bin"/><Relationship Id="rId9" Type="http://schemas.openxmlformats.org/officeDocument/2006/relationships/image" Target="../media/image98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emf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00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99.emf"/><Relationship Id="rId5" Type="http://schemas.openxmlformats.org/officeDocument/2006/relationships/image" Target="../media/image74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75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76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7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Feb 27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3</a:t>
            </a:r>
            <a:r>
              <a:rPr lang="en-US" sz="3600" b="1" baseline="30000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d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for HTT Splicing Enhancers</a:t>
            </a:r>
          </a:p>
          <a:p>
            <a:pPr algn="ctr"/>
            <a:endParaRPr lang="en-US" sz="3600" b="1" dirty="0">
              <a:solidFill>
                <a:schemeClr val="tx2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52742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1</a:t>
            </a:r>
            <a:r>
              <a:rPr lang="en-US" sz="1600" baseline="30000" dirty="0">
                <a:solidFill>
                  <a:schemeClr val="accent5"/>
                </a:solidFill>
              </a:rPr>
              <a:t>st</a:t>
            </a:r>
            <a:r>
              <a:rPr lang="en-US" sz="1600" dirty="0">
                <a:solidFill>
                  <a:schemeClr val="accent5"/>
                </a:solidFill>
              </a:rPr>
              <a:t> exp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93056A-5E74-6747-92B1-3DF6D2689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693" y="1198983"/>
            <a:ext cx="5842347" cy="4525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5F3A94-CF2E-684A-953C-87E59C8CE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2" y="1152746"/>
            <a:ext cx="5594287" cy="4525701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53F5F5D-0737-8E04-1B54-87D405C9922A}"/>
              </a:ext>
            </a:extLst>
          </p:cNvPr>
          <p:cNvSpPr/>
          <p:nvPr/>
        </p:nvSpPr>
        <p:spPr>
          <a:xfrm>
            <a:off x="1300480" y="2956560"/>
            <a:ext cx="558800" cy="56896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CF240E-E810-135E-E309-9625796CD542}"/>
              </a:ext>
            </a:extLst>
          </p:cNvPr>
          <p:cNvSpPr/>
          <p:nvPr/>
        </p:nvSpPr>
        <p:spPr>
          <a:xfrm>
            <a:off x="7355666" y="4958080"/>
            <a:ext cx="3840654" cy="40640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00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1430AD-AC38-B1CA-870F-E1713DAE6E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106508"/>
            <a:ext cx="5315051" cy="45257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A423CB-6A7A-A4DD-2C6A-B8F9F4E50D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06" y="1106508"/>
            <a:ext cx="5442641" cy="45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9342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low-quality sample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C197A2-8E61-AE36-F8AC-2708435EF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72" y="1025409"/>
            <a:ext cx="5551310" cy="45964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95EA49-E689-192A-A1D9-954F5E617A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19" y="1025409"/>
            <a:ext cx="5108703" cy="467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2594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R4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AAE88-D027-3A7F-9620-253C53A39D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4" y="1152746"/>
            <a:ext cx="5916202" cy="4190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B45804-5724-3261-8881-2B83F019C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975" y="1198983"/>
            <a:ext cx="5850927" cy="41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3924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MultiQ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10540-D3EE-949D-08AC-9226660C41CC}"/>
              </a:ext>
            </a:extLst>
          </p:cNvPr>
          <p:cNvSpPr txBox="1"/>
          <p:nvPr/>
        </p:nvSpPr>
        <p:spPr>
          <a:xfrm>
            <a:off x="341745" y="5815696"/>
            <a:ext cx="7379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Users/zgao1/Documents/RNAseq/TST11955_BACK/QC/MultiQC Report_TST11955.html </a:t>
            </a:r>
            <a:endParaRPr lang="en-US" dirty="0"/>
          </a:p>
        </p:txBody>
      </p:sp>
      <p:pic>
        <p:nvPicPr>
          <p:cNvPr id="4" name="Picture 3" descr="Chart, bar chart, surface chart&#10;&#10;Description automatically generated">
            <a:extLst>
              <a:ext uri="{FF2B5EF4-FFF2-40B4-BE49-F238E27FC236}">
                <a16:creationId xmlns:a16="http://schemas.microsoft.com/office/drawing/2014/main" id="{52E9EE64-1AB0-123F-9D9A-71F320691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51" y="1257335"/>
            <a:ext cx="5382087" cy="455836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C8CB2CFF-0EDB-BD09-90F3-C5FF36F98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362" y="1257334"/>
            <a:ext cx="3010187" cy="51988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284370-33E7-5E8A-B5D0-979A2F72AA04}"/>
              </a:ext>
            </a:extLst>
          </p:cNvPr>
          <p:cNvSpPr txBox="1"/>
          <p:nvPr/>
        </p:nvSpPr>
        <p:spPr>
          <a:xfrm>
            <a:off x="2364510" y="835943"/>
            <a:ext cx="1403013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32FF"/>
                </a:solidFill>
              </a:rPr>
              <a:t>Total Re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E499-DE20-A1A9-8C50-7F6F2608BE20}"/>
              </a:ext>
            </a:extLst>
          </p:cNvPr>
          <p:cNvSpPr txBox="1"/>
          <p:nvPr/>
        </p:nvSpPr>
        <p:spPr>
          <a:xfrm>
            <a:off x="8109679" y="835943"/>
            <a:ext cx="3412794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b="0" i="0" dirty="0">
                <a:solidFill>
                  <a:srgbClr val="0432FF"/>
                </a:solidFill>
                <a:effectLst/>
                <a:latin typeface="Helvetica Neue" panose="02000503000000020004" pitchFamily="2" charset="0"/>
              </a:rPr>
              <a:t>Overrepresented Sequences %</a:t>
            </a:r>
            <a:endParaRPr lang="en-US" dirty="0">
              <a:solidFill>
                <a:srgbClr val="0432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3117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557C5-450C-83AE-A293-643C0EF36ECA}"/>
              </a:ext>
            </a:extLst>
          </p:cNvPr>
          <p:cNvSpPr/>
          <p:nvPr/>
        </p:nvSpPr>
        <p:spPr>
          <a:xfrm>
            <a:off x="1747158" y="1747158"/>
            <a:ext cx="1545772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0067A8-01B5-12DF-9C2A-EB37C66F2A8C}"/>
              </a:ext>
            </a:extLst>
          </p:cNvPr>
          <p:cNvSpPr/>
          <p:nvPr/>
        </p:nvSpPr>
        <p:spPr>
          <a:xfrm>
            <a:off x="3875315" y="1741716"/>
            <a:ext cx="1028699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64C412-3408-F51F-2D77-3BAA52456384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 (4 vs 3 Repeats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47852B4E-9E9F-D2FB-922F-2009808E4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8" b="70854"/>
          <a:stretch/>
        </p:blipFill>
        <p:spPr>
          <a:xfrm>
            <a:off x="6287982" y="852437"/>
            <a:ext cx="4661464" cy="8065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C94C23B-4D18-8E4E-3EA5-409C95F5A316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1</a:t>
            </a:r>
            <a:r>
              <a:rPr lang="en-US" b="0" baseline="30000" dirty="0">
                <a:solidFill>
                  <a:schemeClr val="bg1"/>
                </a:solidFill>
              </a:rPr>
              <a:t>st</a:t>
            </a:r>
            <a:r>
              <a:rPr lang="en-US" b="0" dirty="0">
                <a:solidFill>
                  <a:schemeClr val="bg1"/>
                </a:solidFill>
              </a:rPr>
              <a:t> and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9A3391C-2375-851F-5288-CD6D3F61A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4" t="76103" r="1"/>
          <a:stretch/>
        </p:blipFill>
        <p:spPr>
          <a:xfrm>
            <a:off x="6272786" y="4804490"/>
            <a:ext cx="4691857" cy="1193547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E8A352-7B52-591C-D897-8B8FBF3D99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7" b="40052"/>
          <a:stretch/>
        </p:blipFill>
        <p:spPr>
          <a:xfrm>
            <a:off x="6333577" y="4042188"/>
            <a:ext cx="4631068" cy="69381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B422B17-EEB0-D1AE-5B64-255489F59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0" t="59807" r="110" b="24044"/>
          <a:stretch/>
        </p:blipFill>
        <p:spPr>
          <a:xfrm>
            <a:off x="6303182" y="3215306"/>
            <a:ext cx="4661464" cy="806557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B1BF1876-E2EA-F9EE-CFC8-1CFFEA898F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b="85218"/>
          <a:stretch/>
        </p:blipFill>
        <p:spPr>
          <a:xfrm>
            <a:off x="6333577" y="1797151"/>
            <a:ext cx="4631070" cy="738327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CF6FCA9-0167-8D45-2A49-2602987DDF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1" b="54195"/>
          <a:stretch/>
        </p:blipFill>
        <p:spPr>
          <a:xfrm>
            <a:off x="6303182" y="2476979"/>
            <a:ext cx="4661464" cy="85107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1048CAD-61E0-AE14-6958-BB045817B40A}"/>
              </a:ext>
            </a:extLst>
          </p:cNvPr>
          <p:cNvSpPr/>
          <p:nvPr/>
        </p:nvSpPr>
        <p:spPr>
          <a:xfrm>
            <a:off x="283029" y="920295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8687-C9E2-CFD8-4162-FFB6C81F5AE4}"/>
              </a:ext>
            </a:extLst>
          </p:cNvPr>
          <p:cNvSpPr/>
          <p:nvPr/>
        </p:nvSpPr>
        <p:spPr>
          <a:xfrm>
            <a:off x="283028" y="1730139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6CB9F-11D8-8166-BDFB-F1FFA1148993}"/>
              </a:ext>
            </a:extLst>
          </p:cNvPr>
          <p:cNvSpPr/>
          <p:nvPr/>
        </p:nvSpPr>
        <p:spPr>
          <a:xfrm>
            <a:off x="303989" y="3271201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80A304-1DF4-5773-1D1F-E3A2F7F3FEC4}"/>
              </a:ext>
            </a:extLst>
          </p:cNvPr>
          <p:cNvSpPr/>
          <p:nvPr/>
        </p:nvSpPr>
        <p:spPr>
          <a:xfrm>
            <a:off x="303989" y="4077758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C32FE8-6F6B-5977-0FF2-00279462FFD7}"/>
              </a:ext>
            </a:extLst>
          </p:cNvPr>
          <p:cNvSpPr txBox="1"/>
          <p:nvPr/>
        </p:nvSpPr>
        <p:spPr>
          <a:xfrm>
            <a:off x="55244" y="94227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6070C2-D2C4-14F9-9698-1B5C72EC6AB4}"/>
              </a:ext>
            </a:extLst>
          </p:cNvPr>
          <p:cNvSpPr txBox="1"/>
          <p:nvPr/>
        </p:nvSpPr>
        <p:spPr>
          <a:xfrm>
            <a:off x="55244" y="176469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497EA6-4A96-9A54-1CF8-E0613CB5CA9F}"/>
              </a:ext>
            </a:extLst>
          </p:cNvPr>
          <p:cNvSpPr txBox="1"/>
          <p:nvPr/>
        </p:nvSpPr>
        <p:spPr>
          <a:xfrm>
            <a:off x="55244" y="3301462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1256DD-8BCA-D9BB-C62D-7183F547AAC2}"/>
              </a:ext>
            </a:extLst>
          </p:cNvPr>
          <p:cNvSpPr txBox="1"/>
          <p:nvPr/>
        </p:nvSpPr>
        <p:spPr>
          <a:xfrm>
            <a:off x="54998" y="4136424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83383469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E7762930-BC9E-30F1-F50F-EDDE375D4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41" y="1122647"/>
            <a:ext cx="2931407" cy="2995782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4FE9ED7E-A986-467F-2651-D589A7E451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5" b="13592"/>
          <a:stretch/>
        </p:blipFill>
        <p:spPr>
          <a:xfrm>
            <a:off x="6825342" y="3739244"/>
            <a:ext cx="5366657" cy="2710543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AC19FD33-4BB7-0D84-B7CF-FC3B1FB77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74" y="1122647"/>
            <a:ext cx="5366657" cy="3074845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2968F8F-F9C8-67A5-0F05-140AA938A5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1"/>
          <a:stretch/>
        </p:blipFill>
        <p:spPr>
          <a:xfrm>
            <a:off x="1387626" y="3739244"/>
            <a:ext cx="4387245" cy="26234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F5F37D-060F-37D6-1286-73D31A966A0A}"/>
              </a:ext>
            </a:extLst>
          </p:cNvPr>
          <p:cNvSpPr txBox="1"/>
          <p:nvPr/>
        </p:nvSpPr>
        <p:spPr>
          <a:xfrm>
            <a:off x="326571" y="1311729"/>
            <a:ext cx="1023037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0AB5FD-9F78-D101-CF9E-056B94A58C1D}"/>
              </a:ext>
            </a:extLst>
          </p:cNvPr>
          <p:cNvSpPr txBox="1"/>
          <p:nvPr/>
        </p:nvSpPr>
        <p:spPr>
          <a:xfrm>
            <a:off x="326570" y="3933763"/>
            <a:ext cx="1138453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5009F6-40DE-163E-0C57-AD64F54F03C0}"/>
              </a:ext>
            </a:extLst>
          </p:cNvPr>
          <p:cNvSpPr txBox="1"/>
          <p:nvPr/>
        </p:nvSpPr>
        <p:spPr>
          <a:xfrm>
            <a:off x="6537955" y="1311729"/>
            <a:ext cx="1072730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787CC6-B65A-D172-B40C-5137DB3F5414}"/>
              </a:ext>
            </a:extLst>
          </p:cNvPr>
          <p:cNvSpPr txBox="1"/>
          <p:nvPr/>
        </p:nvSpPr>
        <p:spPr>
          <a:xfrm>
            <a:off x="6537955" y="3928326"/>
            <a:ext cx="1188146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E8A731-30DD-3ABA-BAA5-8E52C35DDCB8}"/>
              </a:ext>
            </a:extLst>
          </p:cNvPr>
          <p:cNvCxnSpPr>
            <a:cxnSpLocks/>
          </p:cNvCxnSpPr>
          <p:nvPr/>
        </p:nvCxnSpPr>
        <p:spPr>
          <a:xfrm flipV="1">
            <a:off x="5557157" y="2873829"/>
            <a:ext cx="0" cy="29943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BD471E-7413-B42D-5F6B-FC3DC6B6177E}"/>
              </a:ext>
            </a:extLst>
          </p:cNvPr>
          <p:cNvCxnSpPr>
            <a:cxnSpLocks/>
          </p:cNvCxnSpPr>
          <p:nvPr/>
        </p:nvCxnSpPr>
        <p:spPr>
          <a:xfrm flipV="1">
            <a:off x="10624830" y="2914095"/>
            <a:ext cx="0" cy="30750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0C55BEE-EDCE-E3D0-AC2B-855F6A7CAA36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 (3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3715145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80E7E69-24E2-715F-1358-BA0367E07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" y="1344604"/>
            <a:ext cx="11282175" cy="48514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773793-2E6A-B3B8-A6D2-960E5B607C1A}"/>
              </a:ext>
            </a:extLst>
          </p:cNvPr>
          <p:cNvSpPr/>
          <p:nvPr/>
        </p:nvSpPr>
        <p:spPr>
          <a:xfrm>
            <a:off x="3336471" y="1285173"/>
            <a:ext cx="1518557" cy="3774842"/>
          </a:xfrm>
          <a:prstGeom prst="rect">
            <a:avLst/>
          </a:prstGeom>
          <a:noFill/>
          <a:ln w="19050"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1A9BFD-A2A9-8603-E0C6-82087697F6D9}"/>
              </a:ext>
            </a:extLst>
          </p:cNvPr>
          <p:cNvSpPr/>
          <p:nvPr/>
        </p:nvSpPr>
        <p:spPr>
          <a:xfrm>
            <a:off x="1861456" y="1285173"/>
            <a:ext cx="1475015" cy="49802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70822DD-F1D0-B97F-C707-F6C4742E85F4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details DSG induced by compounds (3x &amp; 10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563578-EC95-1E41-8208-BF82E9A5A5CB}"/>
              </a:ext>
            </a:extLst>
          </p:cNvPr>
          <p:cNvSpPr txBox="1"/>
          <p:nvPr/>
        </p:nvSpPr>
        <p:spPr>
          <a:xfrm>
            <a:off x="1105973" y="861571"/>
            <a:ext cx="49936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6152 1st iPSC &amp; NGN2 and 2nd iPSC &amp; NGN2</a:t>
            </a:r>
          </a:p>
        </p:txBody>
      </p:sp>
    </p:spTree>
    <p:extLst>
      <p:ext uri="{BB962C8B-B14F-4D97-AF65-F5344CB8AC3E}">
        <p14:creationId xmlns:p14="http://schemas.microsoft.com/office/powerpoint/2010/main" val="269297974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15585400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2909956"/>
              </p:ext>
            </p:extLst>
          </p:nvPr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7807"/>
              </p:ext>
            </p:extLst>
          </p:nvPr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90329"/>
              </p:ext>
            </p:extLst>
          </p:nvPr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Exp.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NGN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951" y="415402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500294"/>
            <a:ext cx="2549718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5228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331502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94" y="546822"/>
            <a:ext cx="5075063" cy="558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29823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6776735" y="2986730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5F91B5-FA23-FDDF-AE0C-CE846931C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4" y="546822"/>
            <a:ext cx="513400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478359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B4DC7-9A78-97BC-F6C7-1890FD968A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32" y="546822"/>
            <a:ext cx="5326695" cy="55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24092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410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2B7C1-3FCA-0071-6BDE-8E0ED40BD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43" y="680720"/>
            <a:ext cx="6025243" cy="518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64563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-13607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clusion and Next Step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anked the compounds have fewer off-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howed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  <a:endParaRPr lang="en-US" sz="2200" dirty="0"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43205B-A9CB-075D-83BD-63928EF3AB15}"/>
              </a:ext>
            </a:extLst>
          </p:cNvPr>
          <p:cNvSpPr txBox="1"/>
          <p:nvPr/>
        </p:nvSpPr>
        <p:spPr>
          <a:xfrm>
            <a:off x="248204" y="4311872"/>
            <a:ext cx="6096000" cy="1579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clinical Safety Assessment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01653107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834501" y="148243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everyone!</a:t>
            </a: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625F07-A3CD-7A1B-CD7C-AD67FA01B83C}"/>
              </a:ext>
            </a:extLst>
          </p:cNvPr>
          <p:cNvSpPr txBox="1"/>
          <p:nvPr/>
        </p:nvSpPr>
        <p:spPr>
          <a:xfrm>
            <a:off x="3048000" y="324796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F0502020204030204" pitchFamily="34" charset="0"/>
              </a:rPr>
              <a:t>[NGS One]/TST12086: </a:t>
            </a:r>
          </a:p>
          <a:p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Data for TST12086 is ready.</a:t>
            </a:r>
          </a:p>
          <a:p>
            <a:endParaRPr lang="en-US" dirty="0">
              <a:solidFill>
                <a:srgbClr val="202020"/>
              </a:solidFill>
              <a:latin typeface="Helvetica" pitchFamily="2" charset="0"/>
            </a:endParaRPr>
          </a:p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B0502040204020203" pitchFamily="34" charset="0"/>
              </a:rPr>
              <a:t>Ravi Teja</a:t>
            </a:r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822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EFF3BCFC-1EED-360D-D295-764634C429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929" y="3560535"/>
            <a:ext cx="5461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77092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457446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 gues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t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C5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253863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, ~</a:t>
                      </a: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Puu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</a:rPr>
                        <a:t>BENCHMARK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32194"/>
              </p:ext>
            </p:extLst>
          </p:nvPr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97B296AC-5CD2-E00D-4F10-159CC623A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21481"/>
              </p:ext>
            </p:extLst>
          </p:nvPr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ABAB29AB-6149-8D41-AAFC-F1B037CAD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28766</TotalTime>
  <Words>1091</Words>
  <Application>Microsoft Macintosh PowerPoint</Application>
  <PresentationFormat>Widescreen</PresentationFormat>
  <Paragraphs>398</Paragraphs>
  <Slides>29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9</vt:i4>
      </vt:variant>
    </vt:vector>
  </HeadingPairs>
  <TitlesOfParts>
    <vt:vector size="50" baseType="lpstr">
      <vt:lpstr>System Font Regular</vt:lpstr>
      <vt:lpstr>Arial</vt:lpstr>
      <vt:lpstr>Arial Narrow</vt:lpstr>
      <vt:lpstr>Calibri</vt:lpstr>
      <vt:lpstr>Century Gothic</vt:lpstr>
      <vt:lpstr>Helvetica</vt:lpstr>
      <vt:lpstr>Helvetica Neue</vt:lpstr>
      <vt:lpstr>Menlo</vt:lpstr>
      <vt:lpstr>Segoe UI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CS ChemDraw Drawing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Sample similarity from Gene Expression (1st exp)</vt:lpstr>
      <vt:lpstr>Sample similarity from Gene Expression (2nd  exp raw)</vt:lpstr>
      <vt:lpstr>Sample similarity from Gene Expression (2nd  exp raw after removal of low-quality samples)</vt:lpstr>
      <vt:lpstr>Sample similarity from Gene Expression (2nd  exp raw after removal of R4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(1st and 2nd Exp.)</vt:lpstr>
      <vt:lpstr>Overlapped DSG (1st and 2nd batch mutual support)</vt:lpstr>
      <vt:lpstr>Overlapped DSG (1st and 2nd batch mutual support)</vt:lpstr>
      <vt:lpstr>Overlapped DSG (1st and 2nd batch mutual support)</vt:lpstr>
      <vt:lpstr>Overlapped DSG (1st and 2nd batch mutual support)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61</cp:revision>
  <dcterms:created xsi:type="dcterms:W3CDTF">2021-06-27T14:47:41Z</dcterms:created>
  <dcterms:modified xsi:type="dcterms:W3CDTF">2023-02-27T15:46:09Z</dcterms:modified>
</cp:coreProperties>
</file>